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18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F2EEE091-DC10-4254-9AD6-E4C5A4399A16}"/>
    <pc:docChg chg="modSld">
      <pc:chgData name="Vasilis Karastergios" userId="2aa9c0a1-323b-48aa-83e0-abc8de3a69d0" providerId="ADAL" clId="{F2EEE091-DC10-4254-9AD6-E4C5A4399A16}" dt="2024-02-13T11:44:02.666" v="0" actId="20577"/>
      <pc:docMkLst>
        <pc:docMk/>
      </pc:docMkLst>
      <pc:sldChg chg="modNotesTx">
        <pc:chgData name="Vasilis Karastergios" userId="2aa9c0a1-323b-48aa-83e0-abc8de3a69d0" providerId="ADAL" clId="{F2EEE091-DC10-4254-9AD6-E4C5A4399A16}" dt="2024-02-13T11:44:02.666" v="0" actId="20577"/>
        <pc:sldMkLst>
          <pc:docMk/>
          <pc:sldMk cId="2335946654" sldId="318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765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HUMAN FACTORS ANALYSIS EXTENS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59" y="1183866"/>
            <a:ext cx="11030675" cy="36933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Validate designs and demonstrate compliance with safety, health and workplace standard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D533A6-B0C7-4955-B2BD-E7FCE72BF0A9}"/>
              </a:ext>
            </a:extLst>
          </p:cNvPr>
          <p:cNvGrpSpPr/>
          <p:nvPr/>
        </p:nvGrpSpPr>
        <p:grpSpPr>
          <a:xfrm>
            <a:off x="6975382" y="1749036"/>
            <a:ext cx="4797519" cy="4659221"/>
            <a:chOff x="7058284" y="2096263"/>
            <a:chExt cx="5020040" cy="4875327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87693" y="2251488"/>
              <a:ext cx="2190631" cy="3578199"/>
            </a:xfrm>
            <a:prstGeom prst="rect">
              <a:avLst/>
            </a:prstGeom>
            <a:ln w="9525">
              <a:solidFill>
                <a:schemeClr val="bg2"/>
              </a:solidFill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7058284" y="2096263"/>
              <a:ext cx="2500526" cy="243368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E8EAED"/>
                </a:clrFrom>
                <a:clrTo>
                  <a:srgbClr val="E8EA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271214" y="4890098"/>
              <a:ext cx="1985482" cy="2081492"/>
            </a:xfrm>
            <a:prstGeom prst="rect">
              <a:avLst/>
            </a:prstGeom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18CF7170-79B3-4802-A7CE-ECA22BFD3534}"/>
              </a:ext>
            </a:extLst>
          </p:cNvPr>
          <p:cNvSpPr/>
          <p:nvPr/>
        </p:nvSpPr>
        <p:spPr>
          <a:xfrm>
            <a:off x="510654" y="2149092"/>
            <a:ext cx="1510147" cy="65836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B1C70-230A-40E3-B9AC-1822185001A0}"/>
              </a:ext>
            </a:extLst>
          </p:cNvPr>
          <p:cNvSpPr/>
          <p:nvPr/>
        </p:nvSpPr>
        <p:spPr>
          <a:xfrm>
            <a:off x="2161508" y="2149092"/>
            <a:ext cx="6008716" cy="658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analyze human interaction and demonstrate compliance with safety, health and workplace standards 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CD2F58-37AA-4845-A79D-223550804ADE}"/>
              </a:ext>
            </a:extLst>
          </p:cNvPr>
          <p:cNvSpPr/>
          <p:nvPr/>
        </p:nvSpPr>
        <p:spPr>
          <a:xfrm>
            <a:off x="510654" y="2873837"/>
            <a:ext cx="1510147" cy="7504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9573A8B-0428-472B-B299-D5C0D56B07A3}"/>
              </a:ext>
            </a:extLst>
          </p:cNvPr>
          <p:cNvSpPr/>
          <p:nvPr/>
        </p:nvSpPr>
        <p:spPr>
          <a:xfrm>
            <a:off x="2161512" y="2873837"/>
            <a:ext cx="4720954" cy="750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andards complianc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3B1E09-419B-4602-BC82-D91E87A8B63C}"/>
              </a:ext>
            </a:extLst>
          </p:cNvPr>
          <p:cNvSpPr/>
          <p:nvPr/>
        </p:nvSpPr>
        <p:spPr>
          <a:xfrm>
            <a:off x="510654" y="3690698"/>
            <a:ext cx="1510147" cy="6712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CA19D7E-ECFB-440A-8055-7B1DA6E516DB}"/>
              </a:ext>
            </a:extLst>
          </p:cNvPr>
          <p:cNvSpPr/>
          <p:nvPr/>
        </p:nvSpPr>
        <p:spPr>
          <a:xfrm>
            <a:off x="2161508" y="3690698"/>
            <a:ext cx="3977246" cy="671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formance with safety, health and workplace standard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AD94823-27F6-41A0-83AE-1B0B7ED09954}"/>
              </a:ext>
            </a:extLst>
          </p:cNvPr>
          <p:cNvSpPr/>
          <p:nvPr/>
        </p:nvSpPr>
        <p:spPr>
          <a:xfrm>
            <a:off x="510654" y="4424963"/>
            <a:ext cx="1510147" cy="20157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7D3BB44-6ED9-45EF-8FDB-B40BB670B14C}"/>
              </a:ext>
            </a:extLst>
          </p:cNvPr>
          <p:cNvSpPr/>
          <p:nvPr/>
        </p:nvSpPr>
        <p:spPr>
          <a:xfrm>
            <a:off x="2161509" y="4424963"/>
            <a:ext cx="6008715" cy="2015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Validate designs against workplace standards and guidelines for: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Material Handling (RULA), Pushing/Pulling (Snook), Lifting/Lowering (Snook), Carrying (Snook) and Lifting/Lowering (NIOSH)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Define and save manikin postures associated with the analysis 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use and apply saved positions for target populations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dentify and validate acceptable limits for the desired population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alt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use and repeat the analysis for different populations and criteri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D29AD2E-5B93-4F4A-B8CA-70DCDE483088}"/>
              </a:ext>
            </a:extLst>
          </p:cNvPr>
          <p:cNvCxnSpPr>
            <a:cxnSpLocks/>
          </p:cNvCxnSpPr>
          <p:nvPr/>
        </p:nvCxnSpPr>
        <p:spPr>
          <a:xfrm>
            <a:off x="2117786" y="2149095"/>
            <a:ext cx="0" cy="65836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0E58762-2B2D-4F14-A97D-612BBE3CB26E}"/>
              </a:ext>
            </a:extLst>
          </p:cNvPr>
          <p:cNvCxnSpPr>
            <a:cxnSpLocks/>
          </p:cNvCxnSpPr>
          <p:nvPr/>
        </p:nvCxnSpPr>
        <p:spPr>
          <a:xfrm>
            <a:off x="2117786" y="2873837"/>
            <a:ext cx="0" cy="75048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080320F-AC15-47CF-AEF1-6724E8614929}"/>
              </a:ext>
            </a:extLst>
          </p:cNvPr>
          <p:cNvCxnSpPr>
            <a:cxnSpLocks/>
          </p:cNvCxnSpPr>
          <p:nvPr/>
        </p:nvCxnSpPr>
        <p:spPr>
          <a:xfrm>
            <a:off x="2117786" y="3690695"/>
            <a:ext cx="0" cy="67129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97A34A4-3B27-407D-96FE-F2F257AD6987}"/>
              </a:ext>
            </a:extLst>
          </p:cNvPr>
          <p:cNvCxnSpPr>
            <a:cxnSpLocks/>
          </p:cNvCxnSpPr>
          <p:nvPr/>
        </p:nvCxnSpPr>
        <p:spPr>
          <a:xfrm>
            <a:off x="2117786" y="4424961"/>
            <a:ext cx="0" cy="2015713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5946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8</TotalTime>
  <Words>135</Words>
  <Application>Microsoft Office PowerPoint</Application>
  <PresentationFormat>Widescreen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Arial Narrow</vt:lpstr>
      <vt:lpstr>MS PGothic</vt:lpstr>
      <vt:lpstr>PTC PowerPoint Template</vt:lpstr>
      <vt:lpstr>think-cell Slide</vt:lpstr>
      <vt:lpstr>CREO HUMAN FACTORS ANALYSIS EXTENS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4-02-13T11:44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